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1" r:id="rId4"/>
  </p:sldMasterIdLst>
  <p:notesMasterIdLst>
    <p:notesMasterId r:id="rId7"/>
  </p:notesMasterIdLst>
  <p:sldIdLst>
    <p:sldId id="260" r:id="rId5"/>
    <p:sldId id="266" r:id="rId6"/>
  </p:sldIdLst>
  <p:sldSz cx="18288000" cy="10287000"/>
  <p:notesSz cx="6858000" cy="9144000"/>
  <p:embeddedFontLst>
    <p:embeddedFont>
      <p:font typeface="Fuchs" pitchFamily="2" charset="0"/>
      <p:regular r:id="rId8"/>
      <p:bold r:id="rId9"/>
      <p:italic r:id="rId10"/>
      <p:boldItalic r:id="rId11"/>
    </p:embeddedFont>
    <p:embeddedFont>
      <p:font typeface="Fuchs Black" pitchFamily="2" charset="0"/>
      <p:bold r:id="rId12"/>
    </p:embeddedFont>
  </p:embeddedFontLst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E25A216-AB3C-B67E-CE81-EF11C67D668A}" name="Tamara Trautmann, MAC-CC" initials="TT" userId="S::tamara.trautmann@schwaebisch-hall.de::3ed775c9-4411-477e-922b-476ac0059bb3" providerId="AD"/>
  <p188:author id="{17C3991A-222F-81B0-FD41-7E9776195A4C}" name="Hanna Seitz, MAC-MOM" initials="HS" userId="S::hanna.seitz@schwaebisch-hall.de::c9b0d65e-e632-4144-a623-b7a46582cca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EE07B6C-97B5-4C56-854E-EAC7FD216CEB}" v="9" dt="2025-01-28T09:57:04.72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609" autoAdjust="0"/>
    <p:restoredTop sz="94660"/>
  </p:normalViewPr>
  <p:slideViewPr>
    <p:cSldViewPr snapToGrid="0">
      <p:cViewPr varScale="1">
        <p:scale>
          <a:sx n="81" d="100"/>
          <a:sy n="81" d="100"/>
        </p:scale>
        <p:origin x="468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5.fntdata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4.fntdata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font" Target="fonts/font3.fntdata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eline Belzer | HitchOn" userId="0c3c5689-58ec-4fa3-890c-7af096e834b0" providerId="ADAL" clId="{8EE07B6C-97B5-4C56-854E-EAC7FD216CEB}"/>
    <pc:docChg chg="undo redo custSel modSld">
      <pc:chgData name="Celine Belzer | HitchOn" userId="0c3c5689-58ec-4fa3-890c-7af096e834b0" providerId="ADAL" clId="{8EE07B6C-97B5-4C56-854E-EAC7FD216CEB}" dt="2025-01-28T09:57:04.725" v="147"/>
      <pc:docMkLst>
        <pc:docMk/>
      </pc:docMkLst>
      <pc:sldChg chg="modSp mod">
        <pc:chgData name="Celine Belzer | HitchOn" userId="0c3c5689-58ec-4fa3-890c-7af096e834b0" providerId="ADAL" clId="{8EE07B6C-97B5-4C56-854E-EAC7FD216CEB}" dt="2025-01-24T12:28:05.879" v="0" actId="2711"/>
        <pc:sldMkLst>
          <pc:docMk/>
          <pc:sldMk cId="0" sldId="256"/>
        </pc:sldMkLst>
        <pc:spChg chg="mod">
          <ac:chgData name="Celine Belzer | HitchOn" userId="0c3c5689-58ec-4fa3-890c-7af096e834b0" providerId="ADAL" clId="{8EE07B6C-97B5-4C56-854E-EAC7FD216CEB}" dt="2025-01-24T12:28:05.879" v="0" actId="2711"/>
          <ac:spMkLst>
            <pc:docMk/>
            <pc:sldMk cId="0" sldId="256"/>
            <ac:spMk id="9" creationId="{00000000-0000-0000-0000-000000000000}"/>
          </ac:spMkLst>
        </pc:spChg>
      </pc:sldChg>
      <pc:sldChg chg="modSp mod">
        <pc:chgData name="Celine Belzer | HitchOn" userId="0c3c5689-58ec-4fa3-890c-7af096e834b0" providerId="ADAL" clId="{8EE07B6C-97B5-4C56-854E-EAC7FD216CEB}" dt="2025-01-28T09:57:04.725" v="147"/>
        <pc:sldMkLst>
          <pc:docMk/>
          <pc:sldMk cId="0" sldId="260"/>
        </pc:sldMkLst>
        <pc:spChg chg="mod">
          <ac:chgData name="Celine Belzer | HitchOn" userId="0c3c5689-58ec-4fa3-890c-7af096e834b0" providerId="ADAL" clId="{8EE07B6C-97B5-4C56-854E-EAC7FD216CEB}" dt="2025-01-28T09:57:04.725" v="147"/>
          <ac:spMkLst>
            <pc:docMk/>
            <pc:sldMk cId="0" sldId="260"/>
            <ac:spMk id="3" creationId="{00000000-0000-0000-0000-000000000000}"/>
          </ac:spMkLst>
        </pc:spChg>
      </pc:sldChg>
      <pc:sldChg chg="modSp mod">
        <pc:chgData name="Celine Belzer | HitchOn" userId="0c3c5689-58ec-4fa3-890c-7af096e834b0" providerId="ADAL" clId="{8EE07B6C-97B5-4C56-854E-EAC7FD216CEB}" dt="2025-01-28T09:56:15.928" v="144" actId="20577"/>
        <pc:sldMkLst>
          <pc:docMk/>
          <pc:sldMk cId="42334852" sldId="266"/>
        </pc:sldMkLst>
        <pc:spChg chg="mod">
          <ac:chgData name="Celine Belzer | HitchOn" userId="0c3c5689-58ec-4fa3-890c-7af096e834b0" providerId="ADAL" clId="{8EE07B6C-97B5-4C56-854E-EAC7FD216CEB}" dt="2025-01-28T09:56:15.928" v="144" actId="20577"/>
          <ac:spMkLst>
            <pc:docMk/>
            <pc:sldMk cId="42334852" sldId="266"/>
            <ac:spMk id="3" creationId="{00000000-0000-0000-0000-000000000000}"/>
          </ac:spMkLst>
        </pc:spChg>
      </pc:sldChg>
      <pc:sldChg chg="modSp mod">
        <pc:chgData name="Celine Belzer | HitchOn" userId="0c3c5689-58ec-4fa3-890c-7af096e834b0" providerId="ADAL" clId="{8EE07B6C-97B5-4C56-854E-EAC7FD216CEB}" dt="2025-01-27T14:54:16.361" v="20" actId="14100"/>
        <pc:sldMkLst>
          <pc:docMk/>
          <pc:sldMk cId="4221703699" sldId="267"/>
        </pc:sldMkLst>
        <pc:spChg chg="mod">
          <ac:chgData name="Celine Belzer | HitchOn" userId="0c3c5689-58ec-4fa3-890c-7af096e834b0" providerId="ADAL" clId="{8EE07B6C-97B5-4C56-854E-EAC7FD216CEB}" dt="2025-01-27T14:54:16.361" v="20" actId="14100"/>
          <ac:spMkLst>
            <pc:docMk/>
            <pc:sldMk cId="4221703699" sldId="267"/>
            <ac:spMk id="3" creationId="{00000000-0000-0000-0000-000000000000}"/>
          </ac:spMkLst>
        </pc:spChg>
      </pc:sldChg>
      <pc:sldChg chg="modSp mod">
        <pc:chgData name="Celine Belzer | HitchOn" userId="0c3c5689-58ec-4fa3-890c-7af096e834b0" providerId="ADAL" clId="{8EE07B6C-97B5-4C56-854E-EAC7FD216CEB}" dt="2025-01-28T09:56:21.899" v="146" actId="20577"/>
        <pc:sldMkLst>
          <pc:docMk/>
          <pc:sldMk cId="1832496959" sldId="268"/>
        </pc:sldMkLst>
        <pc:spChg chg="mod">
          <ac:chgData name="Celine Belzer | HitchOn" userId="0c3c5689-58ec-4fa3-890c-7af096e834b0" providerId="ADAL" clId="{8EE07B6C-97B5-4C56-854E-EAC7FD216CEB}" dt="2025-01-28T09:56:21.899" v="146" actId="20577"/>
          <ac:spMkLst>
            <pc:docMk/>
            <pc:sldMk cId="1832496959" sldId="268"/>
            <ac:spMk id="3" creationId="{5709AA7E-A302-7ABC-9006-E55103DB8BE3}"/>
          </ac:spMkLst>
        </pc:spChg>
      </pc:sldChg>
    </pc:docChg>
  </pc:docChgLst>
  <pc:docChgLst>
    <pc:chgData name="Hanna Seitz, MAC-CC" userId="S::hanna.seitz_schwaebisch-hall.de#ext#@hitchongmbh139.onmicrosoft.com::d90fdfbe-cca5-47ed-85d6-5cae77c5c005" providerId="AD" clId="Web-{DE7AC054-9FA8-E566-E277-5DA02269BBA3}"/>
    <pc:docChg chg="modSld">
      <pc:chgData name="Hanna Seitz, MAC-CC" userId="S::hanna.seitz_schwaebisch-hall.de#ext#@hitchongmbh139.onmicrosoft.com::d90fdfbe-cca5-47ed-85d6-5cae77c5c005" providerId="AD" clId="Web-{DE7AC054-9FA8-E566-E277-5DA02269BBA3}" dt="2025-01-27T08:06:48.920" v="0" actId="20577"/>
      <pc:docMkLst>
        <pc:docMk/>
      </pc:docMkLst>
      <pc:sldChg chg="modSp">
        <pc:chgData name="Hanna Seitz, MAC-CC" userId="S::hanna.seitz_schwaebisch-hall.de#ext#@hitchongmbh139.onmicrosoft.com::d90fdfbe-cca5-47ed-85d6-5cae77c5c005" providerId="AD" clId="Web-{DE7AC054-9FA8-E566-E277-5DA02269BBA3}" dt="2025-01-27T08:06:48.920" v="0" actId="20577"/>
        <pc:sldMkLst>
          <pc:docMk/>
          <pc:sldMk cId="0" sldId="260"/>
        </pc:sldMkLst>
        <pc:spChg chg="mod">
          <ac:chgData name="Hanna Seitz, MAC-CC" userId="S::hanna.seitz_schwaebisch-hall.de#ext#@hitchongmbh139.onmicrosoft.com::d90fdfbe-cca5-47ed-85d6-5cae77c5c005" providerId="AD" clId="Web-{DE7AC054-9FA8-E566-E277-5DA02269BBA3}" dt="2025-01-27T08:06:48.920" v="0" actId="20577"/>
          <ac:spMkLst>
            <pc:docMk/>
            <pc:sldMk cId="0" sldId="260"/>
            <ac:spMk id="3" creationId="{00000000-0000-0000-0000-000000000000}"/>
          </ac:spMkLst>
        </pc:spChg>
      </pc:sldChg>
    </pc:docChg>
  </pc:docChgLst>
  <pc:docChgLst>
    <pc:chgData name="Celine Belzer | HitchOn" userId="0c3c5689-58ec-4fa3-890c-7af096e834b0" providerId="ADAL" clId="{6B5E9011-EFE3-45C1-BD21-35DB3E33A9B1}"/>
    <pc:docChg chg="addSld delSld modSld">
      <pc:chgData name="Celine Belzer | HitchOn" userId="0c3c5689-58ec-4fa3-890c-7af096e834b0" providerId="ADAL" clId="{6B5E9011-EFE3-45C1-BD21-35DB3E33A9B1}" dt="2024-07-01T13:06:49.525" v="5" actId="20577"/>
      <pc:docMkLst>
        <pc:docMk/>
      </pc:docMkLst>
      <pc:sldChg chg="modSp mod">
        <pc:chgData name="Celine Belzer | HitchOn" userId="0c3c5689-58ec-4fa3-890c-7af096e834b0" providerId="ADAL" clId="{6B5E9011-EFE3-45C1-BD21-35DB3E33A9B1}" dt="2024-07-01T13:06:49.525" v="5" actId="20577"/>
        <pc:sldMkLst>
          <pc:docMk/>
          <pc:sldMk cId="42334852" sldId="266"/>
        </pc:sldMkLst>
      </pc:sldChg>
      <pc:sldChg chg="new del">
        <pc:chgData name="Celine Belzer | HitchOn" userId="0c3c5689-58ec-4fa3-890c-7af096e834b0" providerId="ADAL" clId="{6B5E9011-EFE3-45C1-BD21-35DB3E33A9B1}" dt="2024-07-01T13:04:01.325" v="1" actId="47"/>
        <pc:sldMkLst>
          <pc:docMk/>
          <pc:sldMk cId="1973810065" sldId="267"/>
        </pc:sldMkLst>
      </pc:sldChg>
    </pc:docChg>
  </pc:docChgLst>
  <pc:docChgLst>
    <pc:chgData name="Anna Ullmann, MAC-CC" userId="S::anna.ullmann_schwaebisch-hall.de#ext#@hitchongmbh139.onmicrosoft.com::cee16b07-d955-473b-b344-dfc77e855654" providerId="AD" clId="Web-{1CC80582-279E-DA43-ADAB-06AD060F7B79}"/>
    <pc:docChg chg="modSld">
      <pc:chgData name="Anna Ullmann, MAC-CC" userId="S::anna.ullmann_schwaebisch-hall.de#ext#@hitchongmbh139.onmicrosoft.com::cee16b07-d955-473b-b344-dfc77e855654" providerId="AD" clId="Web-{1CC80582-279E-DA43-ADAB-06AD060F7B79}" dt="2024-07-02T07:04:06.672" v="3" actId="20577"/>
      <pc:docMkLst>
        <pc:docMk/>
      </pc:docMkLst>
      <pc:sldChg chg="modSp">
        <pc:chgData name="Anna Ullmann, MAC-CC" userId="S::anna.ullmann_schwaebisch-hall.de#ext#@hitchongmbh139.onmicrosoft.com::cee16b07-d955-473b-b344-dfc77e855654" providerId="AD" clId="Web-{1CC80582-279E-DA43-ADAB-06AD060F7B79}" dt="2024-07-02T07:04:06.672" v="3" actId="20577"/>
        <pc:sldMkLst>
          <pc:docMk/>
          <pc:sldMk cId="42334852" sldId="266"/>
        </pc:sldMkLst>
      </pc:sldChg>
    </pc:docChg>
  </pc:docChgLst>
  <pc:docChgLst>
    <pc:chgData name="Hanna Seitz, MAC-CC" userId="S::hanna.seitz_schwaebisch-hall.de#ext#@hitchongmbh139.onmicrosoft.com::d90fdfbe-cca5-47ed-85d6-5cae77c5c005" providerId="AD" clId="Web-{69B2E36E-76F0-78DE-53ED-4E60AB2EACC1}"/>
    <pc:docChg chg="addSld delSld modSld">
      <pc:chgData name="Hanna Seitz, MAC-CC" userId="S::hanna.seitz_schwaebisch-hall.de#ext#@hitchongmbh139.onmicrosoft.com::d90fdfbe-cca5-47ed-85d6-5cae77c5c005" providerId="AD" clId="Web-{69B2E36E-76F0-78DE-53ED-4E60AB2EACC1}" dt="2024-07-02T07:43:04.374" v="36"/>
      <pc:docMkLst>
        <pc:docMk/>
      </pc:docMkLst>
      <pc:sldChg chg="mod modShow">
        <pc:chgData name="Hanna Seitz, MAC-CC" userId="S::hanna.seitz_schwaebisch-hall.de#ext#@hitchongmbh139.onmicrosoft.com::d90fdfbe-cca5-47ed-85d6-5cae77c5c005" providerId="AD" clId="Web-{69B2E36E-76F0-78DE-53ED-4E60AB2EACC1}" dt="2024-07-02T07:43:02.030" v="35"/>
        <pc:sldMkLst>
          <pc:docMk/>
          <pc:sldMk cId="0" sldId="260"/>
        </pc:sldMkLst>
      </pc:sldChg>
      <pc:sldChg chg="mod modShow">
        <pc:chgData name="Hanna Seitz, MAC-CC" userId="S::hanna.seitz_schwaebisch-hall.de#ext#@hitchongmbh139.onmicrosoft.com::d90fdfbe-cca5-47ed-85d6-5cae77c5c005" providerId="AD" clId="Web-{69B2E36E-76F0-78DE-53ED-4E60AB2EACC1}" dt="2024-07-02T07:43:04.374" v="36"/>
        <pc:sldMkLst>
          <pc:docMk/>
          <pc:sldMk cId="42334852" sldId="266"/>
        </pc:sldMkLst>
      </pc:sldChg>
      <pc:sldChg chg="modSp add replId">
        <pc:chgData name="Hanna Seitz, MAC-CC" userId="S::hanna.seitz_schwaebisch-hall.de#ext#@hitchongmbh139.onmicrosoft.com::d90fdfbe-cca5-47ed-85d6-5cae77c5c005" providerId="AD" clId="Web-{69B2E36E-76F0-78DE-53ED-4E60AB2EACC1}" dt="2024-07-02T07:42:54.765" v="34" actId="20577"/>
        <pc:sldMkLst>
          <pc:docMk/>
          <pc:sldMk cId="1373262385" sldId="267"/>
        </pc:sldMkLst>
      </pc:sldChg>
      <pc:sldChg chg="new del">
        <pc:chgData name="Hanna Seitz, MAC-CC" userId="S::hanna.seitz_schwaebisch-hall.de#ext#@hitchongmbh139.onmicrosoft.com::d90fdfbe-cca5-47ed-85d6-5cae77c5c005" providerId="AD" clId="Web-{69B2E36E-76F0-78DE-53ED-4E60AB2EACC1}" dt="2024-07-02T07:40:41.729" v="1"/>
        <pc:sldMkLst>
          <pc:docMk/>
          <pc:sldMk cId="2992889724" sldId="267"/>
        </pc:sldMkLst>
      </pc:sldChg>
      <pc:sldChg chg="modSp add replId">
        <pc:chgData name="Hanna Seitz, MAC-CC" userId="S::hanna.seitz_schwaebisch-hall.de#ext#@hitchongmbh139.onmicrosoft.com::d90fdfbe-cca5-47ed-85d6-5cae77c5c005" providerId="AD" clId="Web-{69B2E36E-76F0-78DE-53ED-4E60AB2EACC1}" dt="2024-07-02T07:41:35.824" v="15" actId="20577"/>
        <pc:sldMkLst>
          <pc:docMk/>
          <pc:sldMk cId="2319564501" sldId="268"/>
        </pc:sldMkLst>
      </pc:sldChg>
    </pc:docChg>
  </pc:docChgLst>
  <pc:docChgLst>
    <pc:chgData name="Celine Belzer | HitchOn" userId="0c3c5689-58ec-4fa3-890c-7af096e834b0" providerId="ADAL" clId="{A6B65C2D-2D5B-42FF-BBC5-C1CA9AE29F1C}"/>
    <pc:docChg chg="undo redo custSel modSld">
      <pc:chgData name="Celine Belzer | HitchOn" userId="0c3c5689-58ec-4fa3-890c-7af096e834b0" providerId="ADAL" clId="{A6B65C2D-2D5B-42FF-BBC5-C1CA9AE29F1C}" dt="2024-07-01T12:46:57.921" v="15" actId="20577"/>
      <pc:docMkLst>
        <pc:docMk/>
      </pc:docMkLst>
      <pc:sldChg chg="modSp mod">
        <pc:chgData name="Celine Belzer | HitchOn" userId="0c3c5689-58ec-4fa3-890c-7af096e834b0" providerId="ADAL" clId="{A6B65C2D-2D5B-42FF-BBC5-C1CA9AE29F1C}" dt="2024-07-01T12:46:57.921" v="15" actId="20577"/>
        <pc:sldMkLst>
          <pc:docMk/>
          <pc:sldMk cId="0" sldId="260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60AE3DE2-5E5B-4A0F-B401-AAC80C290657}" type="datetimeFigureOut">
              <a:rPr lang="de-DE" smtClean="0"/>
              <a:pPr/>
              <a:t>03.12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95158EE2-8904-4B5E-B2F4-2E3394ADEFC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87949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158EE2-8904-4B5E-B2F4-2E3394ADEFCC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0182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158EE2-8904-4B5E-B2F4-2E3394ADEFCC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14095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0A79870-557B-3EB2-C023-293CBAD6B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7568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A79870-557B-3EB2-C023-293CBAD6B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 rtl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D8BD707-D9CF-40AE-B4C6-C98DA3205C09}" type="datetimeFigureOut">
              <a:rPr lang="de-DE" smtClean="0"/>
              <a:pPr/>
              <a:t>03.12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6F15528-21DE-4FAA-801E-634DDDAF4B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6968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0F74E7D-CBFD-D80F-F09C-2C48FCA790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7046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F74E7D-CBFD-D80F-F09C-2C48FCA790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D8BD707-D9CF-40AE-B4C6-C98DA3205C09}" type="datetimeFigureOut">
              <a:rPr lang="de-DE" smtClean="0"/>
              <a:pPr/>
              <a:t>03.12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6F15528-21DE-4FAA-801E-634DDDAF4B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76698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F7B87FA-AD07-0580-7068-313FF07AE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597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7B87FA-AD07-0580-7068-313FF07AE2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D8BD707-D9CF-40AE-B4C6-C98DA3205C09}" type="datetimeFigureOut">
              <a:rPr lang="de-DE" smtClean="0"/>
              <a:pPr/>
              <a:t>03.12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6F15528-21DE-4FAA-801E-634DDDAF4B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29803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A908AC8-592A-D7FD-935F-92664FC8A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6611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908AC8-592A-D7FD-935F-92664FC8A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7199F6D-358C-E288-2588-812F0E5E8C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AC669FD-304E-ABB4-9108-6F677CD78E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D8BD707-D9CF-40AE-B4C6-C98DA3205C09}" type="datetimeFigureOut">
              <a:rPr lang="de-DE" smtClean="0"/>
              <a:pPr/>
              <a:t>03.12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9E2376-E8E9-CB1F-CB1B-819F46176F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98E3BC5-B166-EC1A-782A-04AE164700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6F15528-21DE-4FAA-801E-634DDDAF4B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34508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DD1CA9D-FBAB-848F-6386-3EB4129936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2038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D1CA9D-FBAB-848F-6386-3EB4129936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D8BD707-D9CF-40AE-B4C6-C98DA3205C09}" type="datetimeFigureOut">
              <a:rPr lang="de-DE" smtClean="0"/>
              <a:pPr/>
              <a:t>03.12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6F15528-21DE-4FAA-801E-634DDDAF4B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3912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1428F0D-2A4A-F69A-F522-BB57AABB23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7387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428F0D-2A4A-F69A-F522-BB57AABB23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vert="horz" anchor="t"/>
          <a:lstStyle>
            <a:lvl1pPr algn="l" rtl="0">
              <a:defRPr sz="4000" b="1" cap="all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 rtl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D8BD707-D9CF-40AE-B4C6-C98DA3205C09}" type="datetimeFigureOut">
              <a:rPr lang="de-DE" smtClean="0"/>
              <a:pPr/>
              <a:t>03.12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6F15528-21DE-4FAA-801E-634DDDAF4B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7326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C901C42-CA95-963C-98A3-4B94D0D551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4944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901C42-CA95-963C-98A3-4B94D0D551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 rtl="0">
              <a:defRPr sz="2800"/>
            </a:lvl1pPr>
            <a:lvl2pPr rtl="0">
              <a:defRPr sz="2400"/>
            </a:lvl2pPr>
            <a:lvl3pPr rtl="0">
              <a:defRPr sz="2000"/>
            </a:lvl3pPr>
            <a:lvl4pPr rtl="0">
              <a:defRPr sz="1800"/>
            </a:lvl4pPr>
            <a:lvl5pPr rtl="0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 rtl="0">
              <a:defRPr sz="2800"/>
            </a:lvl1pPr>
            <a:lvl2pPr rtl="0">
              <a:defRPr sz="2400"/>
            </a:lvl2pPr>
            <a:lvl3pPr rtl="0">
              <a:defRPr sz="2000"/>
            </a:lvl3pPr>
            <a:lvl4pPr rtl="0">
              <a:defRPr sz="1800"/>
            </a:lvl4pPr>
            <a:lvl5pPr rtl="0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D8BD707-D9CF-40AE-B4C6-C98DA3205C09}" type="datetimeFigureOut">
              <a:rPr lang="de-DE" smtClean="0"/>
              <a:pPr/>
              <a:t>03.12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6F15528-21DE-4FAA-801E-634DDDAF4B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7663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59CDA344-23E9-E0EF-7BD4-6230AFF636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7914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CDA344-23E9-E0EF-7BD4-6230AFF636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 rtl="0">
              <a:defRPr sz="2400"/>
            </a:lvl1pPr>
            <a:lvl2pPr rtl="0">
              <a:defRPr sz="2000"/>
            </a:lvl2pPr>
            <a:lvl3pPr rtl="0">
              <a:defRPr sz="1800"/>
            </a:lvl3pPr>
            <a:lvl4pPr rtl="0">
              <a:defRPr sz="1600"/>
            </a:lvl4pPr>
            <a:lvl5pPr rtl="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 rtl="0">
              <a:defRPr sz="2400"/>
            </a:lvl1pPr>
            <a:lvl2pPr rtl="0">
              <a:defRPr sz="2000"/>
            </a:lvl2pPr>
            <a:lvl3pPr rtl="0">
              <a:defRPr sz="1800"/>
            </a:lvl3pPr>
            <a:lvl4pPr rtl="0">
              <a:defRPr sz="1600"/>
            </a:lvl4pPr>
            <a:lvl5pPr rtl="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D8BD707-D9CF-40AE-B4C6-C98DA3205C09}" type="datetimeFigureOut">
              <a:rPr lang="de-DE" smtClean="0"/>
              <a:pPr/>
              <a:t>03.12.2025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6F15528-21DE-4FAA-801E-634DDDAF4B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95988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3F68EF9-4530-06A0-6B1F-7651F6CEEC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0568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F68EF9-4530-06A0-6B1F-7651F6CEEC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D8BD707-D9CF-40AE-B4C6-C98DA3205C09}" type="datetimeFigureOut">
              <a:rPr lang="de-DE" smtClean="0"/>
              <a:pPr/>
              <a:t>03.12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6F15528-21DE-4FAA-801E-634DDDAF4B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19918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3A60298-33CC-CF11-1877-312C82A079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2126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A60298-33CC-CF11-1877-312C82A07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D8BD707-D9CF-40AE-B4C6-C98DA3205C09}" type="datetimeFigureOut">
              <a:rPr lang="de-DE" smtClean="0"/>
              <a:pPr/>
              <a:t>03.12.2025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6F15528-21DE-4FAA-801E-634DDDAF4B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42339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96AAD33-F32B-737E-64B3-2B42B64E05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4446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6AAD33-F32B-737E-64B3-2B42B64E05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vert="horz" anchor="b"/>
          <a:lstStyle>
            <a:lvl1pPr algn="l" rtl="0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 rtl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D8BD707-D9CF-40AE-B4C6-C98DA3205C09}" type="datetimeFigureOut">
              <a:rPr lang="de-DE" smtClean="0"/>
              <a:pPr/>
              <a:t>03.12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6F15528-21DE-4FAA-801E-634DDDAF4B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96998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BA4B9CA-AF26-4963-C222-E091962641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0067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A4B9CA-AF26-4963-C222-E091962641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vert="horz" anchor="b"/>
          <a:lstStyle>
            <a:lvl1pPr algn="l" rtl="0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 rtl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 rtl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D8BD707-D9CF-40AE-B4C6-C98DA3205C09}" type="datetimeFigureOut">
              <a:rPr lang="de-DE" smtClean="0"/>
              <a:pPr/>
              <a:t>03.12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6F15528-21DE-4FAA-801E-634DDDAF4B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47397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1743EC0-3DB0-799E-CF15-32127F8416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8329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395" imgH="396" progId="TCLayout.ActiveDocument.1">
                  <p:embed/>
                </p:oleObj>
              </mc:Choice>
              <mc:Fallback>
                <p:oleObj name="think-cell Folie" r:id="rId15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743EC0-3DB0-799E-CF15-32127F8416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de-DE" smtClean="0"/>
              <a:pPr/>
              <a:t>03.12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3715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46F96A7-2621-5067-17CB-4F1AA26DCF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0675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6F96A7-2621-5067-17CB-4F1AA26DCF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2"/>
          <p:cNvSpPr/>
          <p:nvPr/>
        </p:nvSpPr>
        <p:spPr>
          <a:xfrm>
            <a:off x="0" y="0"/>
            <a:ext cx="4612968" cy="10287000"/>
          </a:xfrm>
          <a:prstGeom prst="rect">
            <a:avLst/>
          </a:prstGeom>
          <a:solidFill>
            <a:srgbClr val="FFF02D"/>
          </a:solidFill>
        </p:spPr>
        <p:txBody>
          <a:bodyPr/>
          <a:lstStyle/>
          <a:p>
            <a:endParaRPr lang="de-DE"/>
          </a:p>
        </p:txBody>
      </p:sp>
      <p:sp>
        <p:nvSpPr>
          <p:cNvPr id="3" name="TextBox 3"/>
          <p:cNvSpPr txBox="1"/>
          <p:nvPr/>
        </p:nvSpPr>
        <p:spPr>
          <a:xfrm>
            <a:off x="5450710" y="695834"/>
            <a:ext cx="12837290" cy="1045844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de-DE" sz="2400" b="1" dirty="0">
                <a:latin typeface="Fuchs" panose="020B0604020202020204" charset="0"/>
              </a:rPr>
              <a:t>Wohnungsübergabe 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de-DE" sz="2400" dirty="0">
                <a:latin typeface="Fuchs" panose="020B0604020202020204" charset="0"/>
              </a:rPr>
              <a:t>Bei dir steht eine Wohnungsübergabe an? Egal, ob Ein- oder Auszug: Pass jetzt unbedingt auf, wenn du deine Kaution in voller Höhe zurückbekommen willst. 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de-DE" sz="2400" b="1" dirty="0">
                <a:latin typeface="Fuchs" panose="020B0604020202020204" charset="0"/>
              </a:rPr>
              <a:t>Checkliste für eine perfekte Wohnungsübergabe</a:t>
            </a:r>
          </a:p>
          <a:p>
            <a:pPr marL="457200" indent="-457200">
              <a:lnSpc>
                <a:spcPct val="150000"/>
              </a:lnSpc>
              <a:spcBef>
                <a:spcPct val="0"/>
              </a:spcBef>
              <a:buAutoNum type="arabicPeriod"/>
            </a:pPr>
            <a:r>
              <a:rPr lang="de-DE" sz="2400" b="1" dirty="0">
                <a:latin typeface="Fuchs" panose="020B0604020202020204" charset="0"/>
              </a:rPr>
              <a:t>Übergabeprotokoll – </a:t>
            </a:r>
            <a:r>
              <a:rPr lang="de-DE" sz="2400" b="0" i="0" dirty="0">
                <a:effectLst/>
                <a:latin typeface="ui-sans-serif"/>
              </a:rPr>
              <a:t>Achte darauf, dass dein Vermieter am Tag der Übergabe ein Übergabeprotokoll mit dir ausfüllt. Darin sollten Zählerstände, Schäden, ein Vermerk zur Schlüsselübergabe und die Unterschriften von dir und deine</a:t>
            </a:r>
            <a:r>
              <a:rPr lang="de-DE" sz="2400" dirty="0">
                <a:latin typeface="ui-sans-serif"/>
              </a:rPr>
              <a:t>m Vermieter </a:t>
            </a:r>
            <a:r>
              <a:rPr lang="de-DE" sz="2400" b="0" i="0" dirty="0">
                <a:effectLst/>
                <a:latin typeface="ui-sans-serif"/>
              </a:rPr>
              <a:t>enthalten sein. </a:t>
            </a:r>
            <a:r>
              <a:rPr lang="de-DE" sz="2400" dirty="0">
                <a:latin typeface="ui-sans-serif"/>
              </a:rPr>
              <a:t>Unterschreibe das Protokoll allerdings nur wenn du mit allem übereinstimmst. </a:t>
            </a:r>
            <a:r>
              <a:rPr lang="de-DE" sz="2400" b="0" i="0" dirty="0">
                <a:effectLst/>
                <a:latin typeface="ui-sans-serif"/>
              </a:rPr>
              <a:t>Außerdem solltest du </a:t>
            </a:r>
            <a:r>
              <a:rPr lang="de-DE" sz="2400" dirty="0">
                <a:latin typeface="ui-sans-serif"/>
              </a:rPr>
              <a:t>unbedingt ein Foto von dem ausgefüllten Protokoll machen, falls dein Vermieter „vergessen“ sollte dir eine Kopie zukommen zu lassen. </a:t>
            </a:r>
          </a:p>
          <a:p>
            <a:pPr marL="457200" indent="-457200">
              <a:lnSpc>
                <a:spcPct val="150000"/>
              </a:lnSpc>
              <a:spcBef>
                <a:spcPct val="0"/>
              </a:spcBef>
              <a:buAutoNum type="arabicPeriod"/>
            </a:pPr>
            <a:r>
              <a:rPr lang="de-DE" sz="2400" b="1" dirty="0">
                <a:latin typeface="Fuchs" panose="020B0604020202020204" charset="0"/>
              </a:rPr>
              <a:t>Fotos sind dein bester Freund: </a:t>
            </a:r>
            <a:r>
              <a:rPr lang="de-DE" sz="2400" dirty="0">
                <a:latin typeface="Fuchs" panose="020B0604020202020204" charset="0"/>
              </a:rPr>
              <a:t>Mach auch Fotos und Videos von den Räumen und besonders von den Schäden, die im Übergabeprotokoll aufgenommen wurden. Falls es später Streit gibt: Bilder lügen nicht!</a:t>
            </a:r>
          </a:p>
          <a:p>
            <a:pPr marL="457200" indent="-457200">
              <a:lnSpc>
                <a:spcPct val="150000"/>
              </a:lnSpc>
              <a:spcBef>
                <a:spcPct val="0"/>
              </a:spcBef>
              <a:buAutoNum type="arabicPeriod"/>
            </a:pPr>
            <a:r>
              <a:rPr lang="de-DE" sz="2400" b="1" dirty="0">
                <a:latin typeface="Fuchs" panose="020B0604020202020204" charset="0"/>
              </a:rPr>
              <a:t>Kleine Schäden selbst fixen! </a:t>
            </a:r>
            <a:r>
              <a:rPr lang="de-DE" sz="2400" dirty="0">
                <a:latin typeface="Fuchs" panose="020B0604020202020204" charset="0"/>
              </a:rPr>
              <a:t>Kleine Reparaturen sollten von dir allerdings bereits vor der Wohnungsübergabe durchgeführt werden. So vermeidest du unnötigen Streit und deine Kaution landet schneller auf deinem Konto ;) </a:t>
            </a:r>
            <a:endParaRPr lang="de-DE" sz="2400" strike="sngStrike" dirty="0">
              <a:latin typeface="Fuchs" panose="020B0604020202020204" charset="0"/>
            </a:endParaRPr>
          </a:p>
          <a:p>
            <a:pPr>
              <a:lnSpc>
                <a:spcPct val="150000"/>
              </a:lnSpc>
              <a:spcBef>
                <a:spcPct val="0"/>
              </a:spcBef>
            </a:pPr>
            <a:br>
              <a:rPr lang="de-DE" sz="2400" dirty="0">
                <a:latin typeface="Fuchs" panose="020B0604020202020204" charset="0"/>
              </a:rPr>
            </a:br>
            <a:endParaRPr lang="de-DE" sz="2400" dirty="0">
              <a:latin typeface="Fuchs" panose="020B0604020202020204" charset="0"/>
            </a:endParaRPr>
          </a:p>
          <a:p>
            <a:pPr>
              <a:lnSpc>
                <a:spcPct val="150000"/>
              </a:lnSpc>
            </a:pPr>
            <a:endParaRPr lang="de-DE" sz="2400" b="1" dirty="0">
              <a:latin typeface="Fuchs" panose="020B0604020202020204" charset="0"/>
            </a:endParaRPr>
          </a:p>
        </p:txBody>
      </p:sp>
      <p:grpSp>
        <p:nvGrpSpPr>
          <p:cNvPr id="4" name="Group 4"/>
          <p:cNvGrpSpPr/>
          <p:nvPr/>
        </p:nvGrpSpPr>
        <p:grpSpPr>
          <a:xfrm>
            <a:off x="1120990" y="1028700"/>
            <a:ext cx="2370987" cy="1461770"/>
            <a:chOff x="0" y="0"/>
            <a:chExt cx="3161316" cy="1949027"/>
          </a:xfrm>
        </p:grpSpPr>
        <p:sp>
          <p:nvSpPr>
            <p:cNvPr id="5" name="TextBox 5"/>
            <p:cNvSpPr txBox="1"/>
            <p:nvPr/>
          </p:nvSpPr>
          <p:spPr>
            <a:xfrm>
              <a:off x="0" y="47625"/>
              <a:ext cx="3161316" cy="8667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lvl="0" indent="0">
                <a:lnSpc>
                  <a:spcPts val="4950"/>
                </a:lnSpc>
              </a:pPr>
              <a:r>
                <a:rPr lang="de-DE" sz="4500" spc="-135">
                  <a:solidFill>
                    <a:srgbClr val="E6002D"/>
                  </a:solidFill>
                  <a:latin typeface="Fuchs Black" pitchFamily="2" charset="0"/>
                </a:rPr>
                <a:t>02</a:t>
              </a:r>
            </a:p>
          </p:txBody>
        </p:sp>
        <p:sp>
          <p:nvSpPr>
            <p:cNvPr id="6" name="TextBox 6"/>
            <p:cNvSpPr txBox="1"/>
            <p:nvPr/>
          </p:nvSpPr>
          <p:spPr>
            <a:xfrm>
              <a:off x="0" y="1270635"/>
              <a:ext cx="3161316" cy="67839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lvl="0" indent="0" algn="l">
                <a:lnSpc>
                  <a:spcPts val="3850"/>
                </a:lnSpc>
                <a:spcBef>
                  <a:spcPct val="0"/>
                </a:spcBef>
              </a:pPr>
              <a:r>
                <a:rPr lang="de-DE" sz="3500" spc="-105">
                  <a:solidFill>
                    <a:srgbClr val="000000"/>
                  </a:solidFill>
                  <a:latin typeface="Fuchs" pitchFamily="2" charset="0"/>
                </a:rPr>
                <a:t>Skript</a:t>
              </a:r>
            </a:p>
          </p:txBody>
        </p:sp>
      </p:grpSp>
      <p:pic>
        <p:nvPicPr>
          <p:cNvPr id="8" name="Grafik 7" descr="Schließendes Anführungszeichen mit einfarbiger Füllung">
            <a:extLst>
              <a:ext uri="{FF2B5EF4-FFF2-40B4-BE49-F238E27FC236}">
                <a16:creationId xmlns:a16="http://schemas.microsoft.com/office/drawing/2014/main" id="{0AAAA900-7AB2-8C53-B51E-FF1EA548A6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28600" y="-87471"/>
            <a:ext cx="1768733" cy="1768733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46F96A7-2621-5067-17CB-4F1AA26DCF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6F96A7-2621-5067-17CB-4F1AA26DCF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2"/>
          <p:cNvSpPr/>
          <p:nvPr/>
        </p:nvSpPr>
        <p:spPr>
          <a:xfrm>
            <a:off x="0" y="0"/>
            <a:ext cx="4612968" cy="10287000"/>
          </a:xfrm>
          <a:prstGeom prst="rect">
            <a:avLst/>
          </a:prstGeom>
          <a:solidFill>
            <a:srgbClr val="FFF02D"/>
          </a:solidFill>
        </p:spPr>
        <p:txBody>
          <a:bodyPr/>
          <a:lstStyle/>
          <a:p>
            <a:endParaRPr lang="de-DE"/>
          </a:p>
        </p:txBody>
      </p:sp>
      <p:sp>
        <p:nvSpPr>
          <p:cNvPr id="3" name="TextBox 3"/>
          <p:cNvSpPr txBox="1"/>
          <p:nvPr/>
        </p:nvSpPr>
        <p:spPr>
          <a:xfrm>
            <a:off x="-807587" y="8198568"/>
            <a:ext cx="12291601" cy="12138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de-DE" sz="2800" dirty="0">
                <a:latin typeface="Fuchs" panose="020B0604020202020204" charset="0"/>
              </a:rPr>
              <a:t> </a:t>
            </a:r>
          </a:p>
          <a:p>
            <a:pPr lvl="1">
              <a:lnSpc>
                <a:spcPct val="150000"/>
              </a:lnSpc>
              <a:spcBef>
                <a:spcPct val="0"/>
              </a:spcBef>
            </a:pPr>
            <a:endParaRPr lang="de-DE" sz="2800" dirty="0">
              <a:latin typeface="Fuchs" pitchFamily="2" charset="0"/>
            </a:endParaRPr>
          </a:p>
        </p:txBody>
      </p:sp>
      <p:grpSp>
        <p:nvGrpSpPr>
          <p:cNvPr id="4" name="Group 4"/>
          <p:cNvGrpSpPr/>
          <p:nvPr/>
        </p:nvGrpSpPr>
        <p:grpSpPr>
          <a:xfrm>
            <a:off x="1120990" y="1028700"/>
            <a:ext cx="2370987" cy="1461770"/>
            <a:chOff x="0" y="0"/>
            <a:chExt cx="3161316" cy="1949027"/>
          </a:xfrm>
        </p:grpSpPr>
        <p:sp>
          <p:nvSpPr>
            <p:cNvPr id="5" name="TextBox 5"/>
            <p:cNvSpPr txBox="1"/>
            <p:nvPr/>
          </p:nvSpPr>
          <p:spPr>
            <a:xfrm>
              <a:off x="0" y="47625"/>
              <a:ext cx="3161316" cy="8667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lvl="0" indent="0">
                <a:lnSpc>
                  <a:spcPts val="4950"/>
                </a:lnSpc>
              </a:pPr>
              <a:r>
                <a:rPr lang="de-DE" sz="4500" spc="-135">
                  <a:solidFill>
                    <a:srgbClr val="E6002D"/>
                  </a:solidFill>
                  <a:latin typeface="Fuchs Black" pitchFamily="2" charset="0"/>
                </a:rPr>
                <a:t>02</a:t>
              </a:r>
            </a:p>
          </p:txBody>
        </p:sp>
        <p:sp>
          <p:nvSpPr>
            <p:cNvPr id="6" name="TextBox 6"/>
            <p:cNvSpPr txBox="1"/>
            <p:nvPr/>
          </p:nvSpPr>
          <p:spPr>
            <a:xfrm>
              <a:off x="0" y="1270635"/>
              <a:ext cx="3161316" cy="67839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lvl="0" indent="0" algn="l">
                <a:lnSpc>
                  <a:spcPts val="3850"/>
                </a:lnSpc>
                <a:spcBef>
                  <a:spcPct val="0"/>
                </a:spcBef>
              </a:pPr>
              <a:r>
                <a:rPr lang="de-DE" sz="3500" spc="-105">
                  <a:solidFill>
                    <a:srgbClr val="000000"/>
                  </a:solidFill>
                  <a:latin typeface="Fuchs" pitchFamily="2" charset="0"/>
                </a:rPr>
                <a:t>Skript</a:t>
              </a:r>
            </a:p>
          </p:txBody>
        </p:sp>
      </p:grpSp>
      <p:sp>
        <p:nvSpPr>
          <p:cNvPr id="7" name="Freeform 7"/>
          <p:cNvSpPr/>
          <p:nvPr/>
        </p:nvSpPr>
        <p:spPr>
          <a:xfrm>
            <a:off x="16391116" y="282833"/>
            <a:ext cx="1486500" cy="1491734"/>
          </a:xfrm>
          <a:custGeom>
            <a:avLst/>
            <a:gdLst/>
            <a:ahLst/>
            <a:cxnLst/>
            <a:rect l="l" t="t" r="r" b="b"/>
            <a:pathLst>
              <a:path w="1486500" h="1491734">
                <a:moveTo>
                  <a:pt x="0" y="0"/>
                </a:moveTo>
                <a:lnTo>
                  <a:pt x="1486501" y="0"/>
                </a:lnTo>
                <a:lnTo>
                  <a:pt x="1486501" y="1491734"/>
                </a:lnTo>
                <a:lnTo>
                  <a:pt x="0" y="1491734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pic>
        <p:nvPicPr>
          <p:cNvPr id="8" name="Grafik 7" descr="Schließendes Anführungszeichen mit einfarbiger Füllung">
            <a:extLst>
              <a:ext uri="{FF2B5EF4-FFF2-40B4-BE49-F238E27FC236}">
                <a16:creationId xmlns:a16="http://schemas.microsoft.com/office/drawing/2014/main" id="{0AAAA900-7AB2-8C53-B51E-FF1EA548A60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28600" y="-87471"/>
            <a:ext cx="1768733" cy="1768733"/>
          </a:xfrm>
          <a:prstGeom prst="rect">
            <a:avLst/>
          </a:prstGeom>
        </p:spPr>
      </p:pic>
      <p:sp>
        <p:nvSpPr>
          <p:cNvPr id="12" name="TextBox 3">
            <a:extLst>
              <a:ext uri="{FF2B5EF4-FFF2-40B4-BE49-F238E27FC236}">
                <a16:creationId xmlns:a16="http://schemas.microsoft.com/office/drawing/2014/main" id="{285C4195-9C35-0B81-57CA-5500C81B6861}"/>
              </a:ext>
            </a:extLst>
          </p:cNvPr>
          <p:cNvSpPr txBox="1"/>
          <p:nvPr/>
        </p:nvSpPr>
        <p:spPr>
          <a:xfrm>
            <a:off x="5450710" y="695834"/>
            <a:ext cx="12837290" cy="325646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de-DE" sz="2400" dirty="0">
                <a:latin typeface="Fuchs" panose="020B0604020202020204" charset="0"/>
              </a:rPr>
              <a:t>Nimm gerne noch jemanden zur Wohnungsübergabe mit. Im Zweifelsfall</a:t>
            </a:r>
            <a:br>
              <a:rPr lang="de-DE" sz="2400" dirty="0">
                <a:latin typeface="Fuchs" panose="020B0604020202020204" charset="0"/>
              </a:rPr>
            </a:br>
            <a:r>
              <a:rPr lang="de-DE" sz="2400" dirty="0">
                <a:latin typeface="Fuchs" panose="020B0604020202020204" charset="0"/>
              </a:rPr>
              <a:t>hast du so einen Zeugen, falls dein Vermieter Probleme bereiten sollte. 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endParaRPr lang="de-DE" sz="2400" dirty="0">
              <a:latin typeface="Fuchs" panose="020B0604020202020204" charset="0"/>
            </a:endParaRP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de-DE" sz="2400" dirty="0">
                <a:latin typeface="Fuchs" panose="020B0604020202020204" charset="0"/>
              </a:rPr>
              <a:t>Eine Checkliste für deine Wohnungsübergabe findest du übrigens in der Bio!</a:t>
            </a:r>
            <a:br>
              <a:rPr lang="de-DE" sz="2400" dirty="0">
                <a:latin typeface="Fuchs" panose="020B0604020202020204" charset="0"/>
              </a:rPr>
            </a:br>
            <a:endParaRPr lang="de-DE" sz="2400" dirty="0">
              <a:latin typeface="Fuchs" panose="020B0604020202020204" charset="0"/>
            </a:endParaRPr>
          </a:p>
          <a:p>
            <a:pPr>
              <a:lnSpc>
                <a:spcPct val="150000"/>
              </a:lnSpc>
            </a:pPr>
            <a:endParaRPr lang="de-DE" sz="2400" b="1" dirty="0">
              <a:latin typeface="Fuchs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348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ohnies_CI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ohnies_CIs" id="{67CB04CF-C359-479B-B176-E019BBF05B78}" vid="{F3A55EA0-DFDB-48CE-910F-609D51C2593F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576E4E51DF2E046B823EBD4B33523C2" ma:contentTypeVersion="14" ma:contentTypeDescription="Ein neues Dokument erstellen." ma:contentTypeScope="" ma:versionID="85f6a341a8b8ae8add7fc8ef255f541e">
  <xsd:schema xmlns:xsd="http://www.w3.org/2001/XMLSchema" xmlns:xs="http://www.w3.org/2001/XMLSchema" xmlns:p="http://schemas.microsoft.com/office/2006/metadata/properties" xmlns:ns2="664c15bb-a85d-4aa5-a64c-3adce72c38e7" xmlns:ns3="0cee2379-2e15-475e-97cc-b1d958679329" targetNamespace="http://schemas.microsoft.com/office/2006/metadata/properties" ma:root="true" ma:fieldsID="224e585e31e05fd0ca514bad91d03cbc" ns2:_="" ns3:_="">
    <xsd:import namespace="664c15bb-a85d-4aa5-a64c-3adce72c38e7"/>
    <xsd:import namespace="0cee2379-2e15-475e-97cc-b1d95867932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4c15bb-a85d-4aa5-a64c-3adce72c38e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Bildmarkierungen" ma:readOnly="false" ma:fieldId="{5cf76f15-5ced-4ddc-b409-7134ff3c332f}" ma:taxonomyMulti="true" ma:sspId="da910964-dc38-4079-8785-d5abb533053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ee2379-2e15-475e-97cc-b1d958679329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ff3f9a9-e52e-4aa0-bf47-856ff55305e1}" ma:internalName="TaxCatchAll" ma:showField="CatchAllData" ma:web="0cee2379-2e15-475e-97cc-b1d95867932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cee2379-2e15-475e-97cc-b1d958679329" xsi:nil="true"/>
    <lcf76f155ced4ddcb4097134ff3c332f xmlns="664c15bb-a85d-4aa5-a64c-3adce72c38e7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27C1ECC-DCF2-45FD-A891-4FF8BF90E2B7}">
  <ds:schemaRefs>
    <ds:schemaRef ds:uri="0cee2379-2e15-475e-97cc-b1d958679329"/>
    <ds:schemaRef ds:uri="664c15bb-a85d-4aa5-a64c-3adce72c38e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A2FD9C8-7CC0-48FB-9B04-3E6D623F37FE}">
  <ds:schemaRefs>
    <ds:schemaRef ds:uri="0cee2379-2e15-475e-97cc-b1d958679329"/>
    <ds:schemaRef ds:uri="664c15bb-a85d-4aa5-a64c-3adce72c38e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DEFF790-CEBC-4D6E-A062-4D2D087EBF2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ohnies_CIs</Template>
  <TotalTime>0</TotalTime>
  <Words>224</Words>
  <Application>Microsoft Office PowerPoint</Application>
  <PresentationFormat>Benutzerdefiniert</PresentationFormat>
  <Paragraphs>17</Paragraphs>
  <Slides>2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9" baseType="lpstr">
      <vt:lpstr>ui-sans-serif</vt:lpstr>
      <vt:lpstr>Fuchs Black</vt:lpstr>
      <vt:lpstr>Arial</vt:lpstr>
      <vt:lpstr>Calibri</vt:lpstr>
      <vt:lpstr>Fuchs</vt:lpstr>
      <vt:lpstr>Wohnies_CIs</vt:lpstr>
      <vt:lpstr>think-cell Folie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01</dc:title>
  <dc:creator>Hanna Seitz, MAC-CC</dc:creator>
  <cp:lastModifiedBy>Lisa Rauch, MAC-CC</cp:lastModifiedBy>
  <cp:revision>13</cp:revision>
  <dcterms:created xsi:type="dcterms:W3CDTF">2006-08-16T00:00:00Z</dcterms:created>
  <dcterms:modified xsi:type="dcterms:W3CDTF">2025-12-03T14:30:27Z</dcterms:modified>
  <dc:identifier>DAF0sVywPng</dc:identifier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122b1c8-5473-4dd7-bc25-cbc3cc84827d_Enabled">
    <vt:lpwstr>true</vt:lpwstr>
  </property>
  <property fmtid="{D5CDD505-2E9C-101B-9397-08002B2CF9AE}" pid="3" name="MSIP_Label_d122b1c8-5473-4dd7-bc25-cbc3cc84827d_SetDate">
    <vt:lpwstr>2023-11-20T10:22:20Z</vt:lpwstr>
  </property>
  <property fmtid="{D5CDD505-2E9C-101B-9397-08002B2CF9AE}" pid="4" name="MSIP_Label_d122b1c8-5473-4dd7-bc25-cbc3cc84827d_Method">
    <vt:lpwstr>Standard</vt:lpwstr>
  </property>
  <property fmtid="{D5CDD505-2E9C-101B-9397-08002B2CF9AE}" pid="5" name="MSIP_Label_d122b1c8-5473-4dd7-bc25-cbc3cc84827d_Name">
    <vt:lpwstr>SHG-Intern</vt:lpwstr>
  </property>
  <property fmtid="{D5CDD505-2E9C-101B-9397-08002B2CF9AE}" pid="6" name="MSIP_Label_d122b1c8-5473-4dd7-bc25-cbc3cc84827d_SiteId">
    <vt:lpwstr>bc975425-3282-4beb-ad12-1cc18b1d7039</vt:lpwstr>
  </property>
  <property fmtid="{D5CDD505-2E9C-101B-9397-08002B2CF9AE}" pid="7" name="MSIP_Label_d122b1c8-5473-4dd7-bc25-cbc3cc84827d_ActionId">
    <vt:lpwstr>e1d4e2fe-a889-4c3d-941f-434ade09368c</vt:lpwstr>
  </property>
  <property fmtid="{D5CDD505-2E9C-101B-9397-08002B2CF9AE}" pid="8" name="MSIP_Label_d122b1c8-5473-4dd7-bc25-cbc3cc84827d_ContentBits">
    <vt:lpwstr>0</vt:lpwstr>
  </property>
  <property fmtid="{D5CDD505-2E9C-101B-9397-08002B2CF9AE}" pid="9" name="ContentTypeId">
    <vt:lpwstr>0x010100A576E4E51DF2E046B823EBD4B33523C2</vt:lpwstr>
  </property>
  <property fmtid="{D5CDD505-2E9C-101B-9397-08002B2CF9AE}" pid="10" name="MediaServiceImageTags">
    <vt:lpwstr/>
  </property>
</Properties>
</file>